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82" r:id="rId5"/>
  </p:sldMasterIdLst>
  <p:notesMasterIdLst>
    <p:notesMasterId r:id="rId15"/>
  </p:notesMasterIdLst>
  <p:sldIdLst>
    <p:sldId id="3192" r:id="rId6"/>
    <p:sldId id="3202" r:id="rId7"/>
    <p:sldId id="3203" r:id="rId8"/>
    <p:sldId id="3206" r:id="rId9"/>
    <p:sldId id="3208" r:id="rId10"/>
    <p:sldId id="3207" r:id="rId11"/>
    <p:sldId id="3204" r:id="rId12"/>
    <p:sldId id="3205" r:id="rId13"/>
    <p:sldId id="3201" r:id="rId14"/>
  </p:sldIdLst>
  <p:sldSz cx="9144000" cy="5715000" type="screen16x1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Roboto" panose="02000000000000000000" pitchFamily="2" charset="0"/>
      <p:regular r:id="rId20"/>
      <p:bold r:id="rId21"/>
      <p:italic r:id="rId22"/>
      <p:boldItalic r:id="rId23"/>
    </p:embeddedFont>
    <p:embeddedFont>
      <p:font typeface="Roboto Light" panose="02000000000000000000" pitchFamily="2" charset="0"/>
      <p:regular r:id="rId24"/>
      <p:italic r:id="rId25"/>
    </p:embeddedFont>
  </p:embeddedFontLst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C7E"/>
    <a:srgbClr val="C0C4C5"/>
    <a:srgbClr val="313536"/>
    <a:srgbClr val="322F2E"/>
    <a:srgbClr val="FFEB7F"/>
    <a:srgbClr val="FFFFFF"/>
    <a:srgbClr val="FDD833"/>
    <a:srgbClr val="366FC2"/>
    <a:srgbClr val="BFC3C5"/>
    <a:srgbClr val="FCD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881703-E5B8-2540-B591-0FC35357355C}" v="1" dt="2020-06-15T13:38:06.338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85"/>
    <p:restoredTop sz="94694"/>
  </p:normalViewPr>
  <p:slideViewPr>
    <p:cSldViewPr snapToGrid="0">
      <p:cViewPr varScale="1">
        <p:scale>
          <a:sx n="145" d="100"/>
          <a:sy n="145" d="100"/>
        </p:scale>
        <p:origin x="14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9.fntdata"/><Relationship Id="rId32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3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7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hilde Humeau" userId="57393ba1-a328-4a9d-b48c-3eb60267c6a3" providerId="ADAL" clId="{239098EC-8027-4425-81E2-93415A672F48}"/>
    <pc:docChg chg="undo custSel modSld">
      <pc:chgData name="Mathilde Humeau" userId="57393ba1-a328-4a9d-b48c-3eb60267c6a3" providerId="ADAL" clId="{239098EC-8027-4425-81E2-93415A672F48}" dt="2020-06-09T14:58:15.938" v="595" actId="20577"/>
      <pc:docMkLst>
        <pc:docMk/>
      </pc:docMkLst>
      <pc:sldChg chg="addSp delSp modSp mod">
        <pc:chgData name="Mathilde Humeau" userId="57393ba1-a328-4a9d-b48c-3eb60267c6a3" providerId="ADAL" clId="{239098EC-8027-4425-81E2-93415A672F48}" dt="2020-06-09T14:58:15.938" v="595" actId="20577"/>
        <pc:sldMkLst>
          <pc:docMk/>
          <pc:sldMk cId="396510182" sldId="3121"/>
        </pc:sldMkLst>
        <pc:spChg chg="mod">
          <ac:chgData name="Mathilde Humeau" userId="57393ba1-a328-4a9d-b48c-3eb60267c6a3" providerId="ADAL" clId="{239098EC-8027-4425-81E2-93415A672F48}" dt="2020-06-09T12:45:53.118" v="223" actId="1076"/>
          <ac:spMkLst>
            <pc:docMk/>
            <pc:sldMk cId="396510182" sldId="3121"/>
            <ac:spMk id="3" creationId="{BC5A79D3-AEF8-904C-AF78-189F9FF23738}"/>
          </ac:spMkLst>
        </pc:spChg>
        <pc:spChg chg="add mod">
          <ac:chgData name="Mathilde Humeau" userId="57393ba1-a328-4a9d-b48c-3eb60267c6a3" providerId="ADAL" clId="{239098EC-8027-4425-81E2-93415A672F48}" dt="2020-06-09T12:49:36.012" v="322" actId="20577"/>
          <ac:spMkLst>
            <pc:docMk/>
            <pc:sldMk cId="396510182" sldId="3121"/>
            <ac:spMk id="10" creationId="{4F5D9FCB-22DA-4B57-842C-D71CCB6D1D5F}"/>
          </ac:spMkLst>
        </pc:spChg>
        <pc:spChg chg="mod">
          <ac:chgData name="Mathilde Humeau" userId="57393ba1-a328-4a9d-b48c-3eb60267c6a3" providerId="ADAL" clId="{239098EC-8027-4425-81E2-93415A672F48}" dt="2020-06-09T14:27:01.478" v="552" actId="1076"/>
          <ac:spMkLst>
            <pc:docMk/>
            <pc:sldMk cId="396510182" sldId="3121"/>
            <ac:spMk id="11" creationId="{4FDC3C01-3D00-034F-827A-987D9A603C8E}"/>
          </ac:spMkLst>
        </pc:spChg>
        <pc:spChg chg="add mod">
          <ac:chgData name="Mathilde Humeau" userId="57393ba1-a328-4a9d-b48c-3eb60267c6a3" providerId="ADAL" clId="{239098EC-8027-4425-81E2-93415A672F48}" dt="2020-06-09T14:58:04.150" v="587" actId="20577"/>
          <ac:spMkLst>
            <pc:docMk/>
            <pc:sldMk cId="396510182" sldId="3121"/>
            <ac:spMk id="12" creationId="{F78B9F2C-BDBD-431C-9F54-84BE99CF3F55}"/>
          </ac:spMkLst>
        </pc:spChg>
        <pc:spChg chg="del">
          <ac:chgData name="Mathilde Humeau" userId="57393ba1-a328-4a9d-b48c-3eb60267c6a3" providerId="ADAL" clId="{239098EC-8027-4425-81E2-93415A672F48}" dt="2020-06-09T12:42:27.066" v="122" actId="478"/>
          <ac:spMkLst>
            <pc:docMk/>
            <pc:sldMk cId="396510182" sldId="3121"/>
            <ac:spMk id="13" creationId="{2CAD4B97-1616-8940-B76D-6DEF78EB2229}"/>
          </ac:spMkLst>
        </pc:spChg>
        <pc:spChg chg="add del mod">
          <ac:chgData name="Mathilde Humeau" userId="57393ba1-a328-4a9d-b48c-3eb60267c6a3" providerId="ADAL" clId="{239098EC-8027-4425-81E2-93415A672F48}" dt="2020-06-09T12:49:19.753" v="316"/>
          <ac:spMkLst>
            <pc:docMk/>
            <pc:sldMk cId="396510182" sldId="3121"/>
            <ac:spMk id="15" creationId="{559F303D-E875-4645-88D6-AEAC37EF9201}"/>
          </ac:spMkLst>
        </pc:spChg>
        <pc:spChg chg="add mod">
          <ac:chgData name="Mathilde Humeau" userId="57393ba1-a328-4a9d-b48c-3eb60267c6a3" providerId="ADAL" clId="{239098EC-8027-4425-81E2-93415A672F48}" dt="2020-06-09T14:35:34.393" v="585" actId="14"/>
          <ac:spMkLst>
            <pc:docMk/>
            <pc:sldMk cId="396510182" sldId="3121"/>
            <ac:spMk id="16" creationId="{815ED20D-306A-4DC0-B165-89D8179761B2}"/>
          </ac:spMkLst>
        </pc:spChg>
        <pc:spChg chg="add mod">
          <ac:chgData name="Mathilde Humeau" userId="57393ba1-a328-4a9d-b48c-3eb60267c6a3" providerId="ADAL" clId="{239098EC-8027-4425-81E2-93415A672F48}" dt="2020-06-09T14:58:15.938" v="595" actId="20577"/>
          <ac:spMkLst>
            <pc:docMk/>
            <pc:sldMk cId="396510182" sldId="3121"/>
            <ac:spMk id="17" creationId="{B21927F8-BADE-462E-896E-81E9C3DB613E}"/>
          </ac:spMkLst>
        </pc:spChg>
        <pc:picChg chg="add del mod">
          <ac:chgData name="Mathilde Humeau" userId="57393ba1-a328-4a9d-b48c-3eb60267c6a3" providerId="ADAL" clId="{239098EC-8027-4425-81E2-93415A672F48}" dt="2020-06-09T12:38:05.416" v="38" actId="478"/>
          <ac:picMkLst>
            <pc:docMk/>
            <pc:sldMk cId="396510182" sldId="3121"/>
            <ac:picMk id="4" creationId="{D95861F1-CA20-4A39-88DE-48E85C1303D3}"/>
          </ac:picMkLst>
        </pc:picChg>
        <pc:picChg chg="del mod">
          <ac:chgData name="Mathilde Humeau" userId="57393ba1-a328-4a9d-b48c-3eb60267c6a3" providerId="ADAL" clId="{239098EC-8027-4425-81E2-93415A672F48}" dt="2020-06-09T12:39:55.253" v="60" actId="21"/>
          <ac:picMkLst>
            <pc:docMk/>
            <pc:sldMk cId="396510182" sldId="3121"/>
            <ac:picMk id="5" creationId="{4AEF4248-9609-0A47-847F-E058EF7B15C3}"/>
          </ac:picMkLst>
        </pc:picChg>
        <pc:picChg chg="add del mod">
          <ac:chgData name="Mathilde Humeau" userId="57393ba1-a328-4a9d-b48c-3eb60267c6a3" providerId="ADAL" clId="{239098EC-8027-4425-81E2-93415A672F48}" dt="2020-06-09T12:38:21.369" v="40" actId="478"/>
          <ac:picMkLst>
            <pc:docMk/>
            <pc:sldMk cId="396510182" sldId="3121"/>
            <ac:picMk id="6" creationId="{FEB15192-B33B-499B-B9D8-48AF7DCC7CCE}"/>
          </ac:picMkLst>
        </pc:picChg>
        <pc:picChg chg="add mod">
          <ac:chgData name="Mathilde Humeau" userId="57393ba1-a328-4a9d-b48c-3eb60267c6a3" providerId="ADAL" clId="{239098EC-8027-4425-81E2-93415A672F48}" dt="2020-06-09T12:48:46.977" v="305" actId="14100"/>
          <ac:picMkLst>
            <pc:docMk/>
            <pc:sldMk cId="396510182" sldId="3121"/>
            <ac:picMk id="7" creationId="{7374C318-F48F-4AAD-A2AD-997A349DB1FD}"/>
          </ac:picMkLst>
        </pc:picChg>
        <pc:picChg chg="add mod">
          <ac:chgData name="Mathilde Humeau" userId="57393ba1-a328-4a9d-b48c-3eb60267c6a3" providerId="ADAL" clId="{239098EC-8027-4425-81E2-93415A672F48}" dt="2020-06-09T12:48:57.064" v="310" actId="1076"/>
          <ac:picMkLst>
            <pc:docMk/>
            <pc:sldMk cId="396510182" sldId="3121"/>
            <ac:picMk id="8" creationId="{F4E0D2B6-DC2D-48C4-84F3-CA4BC222C4A3}"/>
          </ac:picMkLst>
        </pc:picChg>
        <pc:picChg chg="add mod">
          <ac:chgData name="Mathilde Humeau" userId="57393ba1-a328-4a9d-b48c-3eb60267c6a3" providerId="ADAL" clId="{239098EC-8027-4425-81E2-93415A672F48}" dt="2020-06-09T12:48:59.637" v="311" actId="1076"/>
          <ac:picMkLst>
            <pc:docMk/>
            <pc:sldMk cId="396510182" sldId="3121"/>
            <ac:picMk id="9" creationId="{04824BCB-A049-4D2E-BF5F-CCFB74658DC9}"/>
          </ac:picMkLst>
        </pc:picChg>
        <pc:picChg chg="add mod">
          <ac:chgData name="Mathilde Humeau" userId="57393ba1-a328-4a9d-b48c-3eb60267c6a3" providerId="ADAL" clId="{239098EC-8027-4425-81E2-93415A672F48}" dt="2020-06-09T12:48:52.032" v="307" actId="1076"/>
          <ac:picMkLst>
            <pc:docMk/>
            <pc:sldMk cId="396510182" sldId="3121"/>
            <ac:picMk id="14" creationId="{D0C7CFB3-30EE-47A8-943B-72922EDEC9A1}"/>
          </ac:picMkLst>
        </pc:picChg>
        <pc:picChg chg="add mod">
          <ac:chgData name="Mathilde Humeau" userId="57393ba1-a328-4a9d-b48c-3eb60267c6a3" providerId="ADAL" clId="{239098EC-8027-4425-81E2-93415A672F48}" dt="2020-06-09T12:51:21.516" v="433" actId="1076"/>
          <ac:picMkLst>
            <pc:docMk/>
            <pc:sldMk cId="396510182" sldId="3121"/>
            <ac:picMk id="18" creationId="{FA39D3C1-9B9A-4BE4-8300-E06D63EA59A8}"/>
          </ac:picMkLst>
        </pc:picChg>
        <pc:picChg chg="add mod">
          <ac:chgData name="Mathilde Humeau" userId="57393ba1-a328-4a9d-b48c-3eb60267c6a3" providerId="ADAL" clId="{239098EC-8027-4425-81E2-93415A672F48}" dt="2020-06-09T12:51:57.807" v="442" actId="1076"/>
          <ac:picMkLst>
            <pc:docMk/>
            <pc:sldMk cId="396510182" sldId="3121"/>
            <ac:picMk id="19" creationId="{8F45F37A-4B84-4023-825B-A8FD9AF13434}"/>
          </ac:picMkLst>
        </pc:picChg>
        <pc:picChg chg="add del mod">
          <ac:chgData name="Mathilde Humeau" userId="57393ba1-a328-4a9d-b48c-3eb60267c6a3" providerId="ADAL" clId="{239098EC-8027-4425-81E2-93415A672F48}" dt="2020-06-09T12:39:51.366" v="59"/>
          <ac:picMkLst>
            <pc:docMk/>
            <pc:sldMk cId="396510182" sldId="3121"/>
            <ac:picMk id="11266" creationId="{6799D597-4F39-4704-A2E8-2D143BB0146C}"/>
          </ac:picMkLst>
        </pc:picChg>
      </pc:sldChg>
      <pc:sldChg chg="addSp modSp mod">
        <pc:chgData name="Mathilde Humeau" userId="57393ba1-a328-4a9d-b48c-3eb60267c6a3" providerId="ADAL" clId="{239098EC-8027-4425-81E2-93415A672F48}" dt="2020-06-09T12:40:26.163" v="69" actId="14100"/>
        <pc:sldMkLst>
          <pc:docMk/>
          <pc:sldMk cId="2222549035" sldId="3139"/>
        </pc:sldMkLst>
        <pc:spChg chg="mod">
          <ac:chgData name="Mathilde Humeau" userId="57393ba1-a328-4a9d-b48c-3eb60267c6a3" providerId="ADAL" clId="{239098EC-8027-4425-81E2-93415A672F48}" dt="2020-06-09T12:40:19.659" v="66" actId="14100"/>
          <ac:spMkLst>
            <pc:docMk/>
            <pc:sldMk cId="2222549035" sldId="3139"/>
            <ac:spMk id="3" creationId="{FD9F3EA4-FBC5-4D61-B7C6-E46794224C89}"/>
          </ac:spMkLst>
        </pc:spChg>
        <pc:picChg chg="add mod ord">
          <ac:chgData name="Mathilde Humeau" userId="57393ba1-a328-4a9d-b48c-3eb60267c6a3" providerId="ADAL" clId="{239098EC-8027-4425-81E2-93415A672F48}" dt="2020-06-09T12:40:26.163" v="69" actId="14100"/>
          <ac:picMkLst>
            <pc:docMk/>
            <pc:sldMk cId="2222549035" sldId="3139"/>
            <ac:picMk id="4" creationId="{E88CB1A7-6474-4F93-8BE7-C61D84EB8CC1}"/>
          </ac:picMkLst>
        </pc:picChg>
      </pc:sldChg>
      <pc:sldChg chg="modSp mod">
        <pc:chgData name="Mathilde Humeau" userId="57393ba1-a328-4a9d-b48c-3eb60267c6a3" providerId="ADAL" clId="{239098EC-8027-4425-81E2-93415A672F48}" dt="2020-06-09T12:04:23.972" v="2" actId="20577"/>
        <pc:sldMkLst>
          <pc:docMk/>
          <pc:sldMk cId="3603075985" sldId="3140"/>
        </pc:sldMkLst>
        <pc:spChg chg="mod">
          <ac:chgData name="Mathilde Humeau" userId="57393ba1-a328-4a9d-b48c-3eb60267c6a3" providerId="ADAL" clId="{239098EC-8027-4425-81E2-93415A672F48}" dt="2020-06-09T12:04:23.972" v="2" actId="20577"/>
          <ac:spMkLst>
            <pc:docMk/>
            <pc:sldMk cId="3603075985" sldId="3140"/>
            <ac:spMk id="2" creationId="{3CD00A38-73EC-4892-AE2B-6C5D242E9F6B}"/>
          </ac:spMkLst>
        </pc:spChg>
      </pc:sldChg>
      <pc:sldChg chg="modSp mod">
        <pc:chgData name="Mathilde Humeau" userId="57393ba1-a328-4a9d-b48c-3eb60267c6a3" providerId="ADAL" clId="{239098EC-8027-4425-81E2-93415A672F48}" dt="2020-06-09T12:21:36.433" v="5" actId="108"/>
        <pc:sldMkLst>
          <pc:docMk/>
          <pc:sldMk cId="1119521077" sldId="3201"/>
        </pc:sldMkLst>
        <pc:spChg chg="mod">
          <ac:chgData name="Mathilde Humeau" userId="57393ba1-a328-4a9d-b48c-3eb60267c6a3" providerId="ADAL" clId="{239098EC-8027-4425-81E2-93415A672F48}" dt="2020-06-09T12:21:36.433" v="5" actId="108"/>
          <ac:spMkLst>
            <pc:docMk/>
            <pc:sldMk cId="1119521077" sldId="3201"/>
            <ac:spMk id="3" creationId="{5367350A-CBE6-41A3-A25C-20EBB0C75FC8}"/>
          </ac:spMkLst>
        </pc:spChg>
      </pc:sldChg>
    </pc:docChg>
  </pc:docChgLst>
  <pc:docChgLst>
    <pc:chgData name="Alexander Fillbrunn" userId="b734336c-8ba1-44a1-ad26-e75300cc464e" providerId="ADAL" clId="{6A881703-E5B8-2540-B591-0FC35357355C}"/>
    <pc:docChg chg="modSld">
      <pc:chgData name="Alexander Fillbrunn" userId="b734336c-8ba1-44a1-ad26-e75300cc464e" providerId="ADAL" clId="{6A881703-E5B8-2540-B591-0FC35357355C}" dt="2020-06-15T13:38:06.331" v="0"/>
      <pc:docMkLst>
        <pc:docMk/>
      </pc:docMkLst>
      <pc:sldChg chg="modTransition">
        <pc:chgData name="Alexander Fillbrunn" userId="b734336c-8ba1-44a1-ad26-e75300cc464e" providerId="ADAL" clId="{6A881703-E5B8-2540-B591-0FC35357355C}" dt="2020-06-15T13:38:06.331" v="0"/>
        <pc:sldMkLst>
          <pc:docMk/>
          <pc:sldMk cId="2098383342" sldId="3198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199794-45CA-FF41-AA62-5E594CEACF02}" type="datetimeFigureOut">
              <a:rPr lang="de-DE" smtClean="0"/>
              <a:t>12.10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E2914A-90BC-E546-9349-962456D8039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594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2914A-90BC-E546-9349-962456D8039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4189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1A9F22E-4C0D-4908-AFF9-459C2023FB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7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1A9F22E-4C0D-4908-AFF9-459C2023F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4">
            <a:extLst>
              <a:ext uri="{FF2B5EF4-FFF2-40B4-BE49-F238E27FC236}">
                <a16:creationId xmlns:a16="http://schemas.microsoft.com/office/drawing/2014/main" id="{5F697A4B-CE4C-4E49-AA32-6CBD9C6A4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2778" y="717630"/>
            <a:ext cx="4231222" cy="4997370"/>
          </a:xfrm>
          <a:prstGeom prst="rect">
            <a:avLst/>
          </a:prstGeom>
        </p:spPr>
      </p:pic>
      <p:sp>
        <p:nvSpPr>
          <p:cNvPr id="9" name="Title Placeholder 38">
            <a:extLst>
              <a:ext uri="{FF2B5EF4-FFF2-40B4-BE49-F238E27FC236}">
                <a16:creationId xmlns:a16="http://schemas.microsoft.com/office/drawing/2014/main" id="{3FA495CF-93BD-8F45-B37F-ACEA201DC5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365" y="2202948"/>
            <a:ext cx="3696663" cy="45051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4000" b="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E3F26A9-D6DA-F64D-B35A-ECFBFCC8DBF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365" y="4011527"/>
            <a:ext cx="3580916" cy="19585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Date / Time / </a:t>
            </a:r>
            <a:r>
              <a:rPr lang="de-DE" err="1"/>
              <a:t>etc</a:t>
            </a:r>
            <a:endParaRPr lang="en-US"/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E62B7D2B-9373-9945-8F0A-9D0891459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365" y="410292"/>
            <a:ext cx="2356273" cy="61467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4AC651F-D8B3-AA45-95E4-B84381895F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365" y="2875243"/>
            <a:ext cx="3924300" cy="871709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0" i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en-GB"/>
              <a:t>Sub header</a:t>
            </a:r>
          </a:p>
          <a:p>
            <a:pPr lvl="0"/>
            <a:r>
              <a:rPr lang="en-GB"/>
              <a:t>Sub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5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 userDrawn="1">
          <p15:clr>
            <a:srgbClr val="FFFFFF"/>
          </p15:clr>
        </p15:guide>
        <p15:guide id="2" orient="horz" pos="3206" userDrawn="1">
          <p15:clr>
            <a:srgbClr val="FFFF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/ End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69DBAA-BAA7-45D0-A471-C166F0C88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25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69DBAA-BAA7-45D0-A471-C166F0C88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11">
            <a:extLst>
              <a:ext uri="{FF2B5EF4-FFF2-40B4-BE49-F238E27FC236}">
                <a16:creationId xmlns:a16="http://schemas.microsoft.com/office/drawing/2014/main" id="{299E838C-14D0-6D49-BF3B-B8CACD55A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" t="3755" r="42533" b="35138"/>
          <a:stretch/>
        </p:blipFill>
        <p:spPr>
          <a:xfrm>
            <a:off x="5447839" y="881948"/>
            <a:ext cx="3696161" cy="4833052"/>
          </a:xfrm>
          <a:prstGeom prst="rect">
            <a:avLst/>
          </a:prstGeom>
        </p:spPr>
      </p:pic>
      <p:sp>
        <p:nvSpPr>
          <p:cNvPr id="4" name="Title Placeholder 38">
            <a:extLst>
              <a:ext uri="{FF2B5EF4-FFF2-40B4-BE49-F238E27FC236}">
                <a16:creationId xmlns:a16="http://schemas.microsoft.com/office/drawing/2014/main" id="{76B15A3B-73D6-834E-AA6D-56E5C7E743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365" y="1814328"/>
            <a:ext cx="6391348" cy="87735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400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71815F6-DD97-E140-83CE-1CFD939DD4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365" y="3822134"/>
            <a:ext cx="3580916" cy="19585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Date / Time / </a:t>
            </a:r>
            <a:r>
              <a:rPr lang="de-DE" err="1"/>
              <a:t>etc</a:t>
            </a:r>
            <a:endParaRPr lang="en-US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8BF695B-0B4B-544E-98A9-C3410956CA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365" y="2896137"/>
            <a:ext cx="3924300" cy="404851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3EE00A1-F28C-FF46-9029-8B6391D75C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365" y="3358331"/>
            <a:ext cx="3924300" cy="367823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0" i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499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 userDrawn="1">
          <p15:clr>
            <a:srgbClr val="FFFFFF"/>
          </p15:clr>
        </p15:guide>
        <p15:guide id="2" orient="horz" pos="3206" userDrawn="1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89E90C-F411-47D6-9B1C-54ADE4BFB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87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89E90C-F411-47D6-9B1C-54ADE4BFB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14E257-8EE4-4BF6-B2FE-670505E43B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 hangingPunct="1"/>
            <a:endParaRPr lang="de-DE" sz="3600" b="1" i="0" baseline="0">
              <a:solidFill>
                <a:schemeClr val="tx1"/>
              </a:solidFill>
              <a:latin typeface="Roboto" pitchFamily="2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1DC2355-B885-6C43-BEB2-172DEE041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1601454"/>
            <a:ext cx="528764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3600">
                <a:solidFill>
                  <a:srgbClr val="322F2E"/>
                </a:solidFill>
              </a:defRPr>
            </a:lvl1pPr>
          </a:lstStyle>
          <a:p>
            <a:r>
              <a:rPr lang="de-DE"/>
              <a:t>Slide Titl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519955-9AF0-4D82-B09B-EDEB6729A2F6}"/>
              </a:ext>
            </a:extLst>
          </p:cNvPr>
          <p:cNvSpPr/>
          <p:nvPr userDrawn="1"/>
        </p:nvSpPr>
        <p:spPr>
          <a:xfrm>
            <a:off x="158750" y="609600"/>
            <a:ext cx="8802370" cy="449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lang="en-GB" sz="1800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1A943AA-846E-4CF0-B610-F96B047B76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2778" y="3860"/>
            <a:ext cx="4231222" cy="499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39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 userDrawn="1">
          <p15:clr>
            <a:srgbClr val="FFFFFF"/>
          </p15:clr>
        </p15:guide>
        <p15:guide id="2" orient="horz" pos="3206" userDrawn="1">
          <p15:clr>
            <a:srgbClr val="FFFF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589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0EF2CD2-BC2E-4611-8108-4DB5D2A60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400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0354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21F0666-BCA1-459B-A070-55DC8213A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F87CBB-8D37-4D19-9219-F9CC88DE3E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452563"/>
            <a:ext cx="5475097" cy="363696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6233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5" userDrawn="1">
          <p15:clr>
            <a:srgbClr val="F26B43"/>
          </p15:clr>
        </p15:guide>
        <p15:guide id="2" orient="horz" pos="598" userDrawn="1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490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2D2E743-50D9-4844-91E2-C474695DA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5C8AC2-FC6D-4F7A-B0F0-DC9BEC9110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452563"/>
            <a:ext cx="4213225" cy="363696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37CEBF4-780D-4A4B-83C7-C763D27E8B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0" y="1452563"/>
            <a:ext cx="4284662" cy="363696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031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 userDrawn="1">
          <p15:clr>
            <a:srgbClr val="FFFFFF"/>
          </p15:clr>
        </p15:guide>
        <p15:guide id="2" orient="horz" pos="915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04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C92A5C-8EA7-4270-AFE6-3C093FB582C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07828" y="1128587"/>
            <a:ext cx="4648835" cy="4140200"/>
          </a:xfrm>
          <a:prstGeom prst="rect">
            <a:avLst/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635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695A495-DABD-4F61-A8B6-F5E56D674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603FEF-2A36-4790-AD56-C05F977E41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452563"/>
            <a:ext cx="3492500" cy="3817937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1086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>
          <p15:clr>
            <a:srgbClr val="FFFFFF"/>
          </p15:clr>
        </p15:guide>
        <p15:guide id="2" orient="horz" pos="915">
          <p15:clr>
            <a:srgbClr val="F26B43"/>
          </p15:clr>
        </p15:guide>
        <p15:guide id="3" orient="horz" pos="3320" userDrawn="1">
          <p15:clr>
            <a:srgbClr val="F26B43"/>
          </p15:clr>
        </p15:guide>
        <p15:guide id="4" orient="horz" pos="711" userDrawn="1">
          <p15:clr>
            <a:srgbClr val="F26B43"/>
          </p15:clr>
        </p15:guide>
        <p15:guide id="5" orient="horz" pos="3206" userDrawn="1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234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C92A5C-8EA7-4270-AFE6-3C093FB582C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8776" y="1128587"/>
            <a:ext cx="8497888" cy="4140200"/>
          </a:xfrm>
          <a:prstGeom prst="rect">
            <a:avLst/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635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08E4BFC-9102-41FD-8FA8-63057F86F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9380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8">
          <p15:clr>
            <a:srgbClr val="FFFFFF"/>
          </p15:clr>
        </p15:guide>
        <p15:guide id="2" orient="horz" pos="915" userDrawn="1">
          <p15:clr>
            <a:srgbClr val="FFFFFF"/>
          </p15:clr>
        </p15:guide>
        <p15:guide id="3" orient="horz" pos="711" userDrawn="1">
          <p15:clr>
            <a:srgbClr val="F26B43"/>
          </p15:clr>
        </p15:guide>
        <p15:guide id="4" orient="horz" pos="3320" userDrawn="1">
          <p15:clr>
            <a:srgbClr val="F26B43"/>
          </p15:clr>
        </p15:guide>
        <p15:guide id="5" orient="horz" pos="3206" userDrawn="1">
          <p15:clr>
            <a:srgbClr val="FFFF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Fo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4B243D-7953-4AAD-ADA8-5E118BA86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310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4B243D-7953-4AAD-ADA8-5E118BA86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E4854-D3B5-4FAC-9F92-965BAE1BA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cxnSp>
        <p:nvCxnSpPr>
          <p:cNvPr id="6" name="Gerade Verbindung 2">
            <a:extLst>
              <a:ext uri="{FF2B5EF4-FFF2-40B4-BE49-F238E27FC236}">
                <a16:creationId xmlns:a16="http://schemas.microsoft.com/office/drawing/2014/main" id="{7757FF3C-41BE-4494-941D-B73E71555B65}"/>
              </a:ext>
            </a:extLst>
          </p:cNvPr>
          <p:cNvCxnSpPr/>
          <p:nvPr userDrawn="1"/>
        </p:nvCxnSpPr>
        <p:spPr>
          <a:xfrm>
            <a:off x="358775" y="850774"/>
            <a:ext cx="8497888" cy="0"/>
          </a:xfrm>
          <a:prstGeom prst="line">
            <a:avLst/>
          </a:prstGeom>
          <a:ln>
            <a:solidFill>
              <a:srgbClr val="FFD5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83A4956-B15A-4F0D-9E7B-2F295EBA0DB5}"/>
              </a:ext>
            </a:extLst>
          </p:cNvPr>
          <p:cNvSpPr txBox="1"/>
          <p:nvPr userDrawn="1"/>
        </p:nvSpPr>
        <p:spPr>
          <a:xfrm>
            <a:off x="4379976" y="5460223"/>
            <a:ext cx="3840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C781D50-5550-5243-AC32-96DDDDD438F6}" type="slidenum">
              <a:rPr lang="en-US" sz="900" b="0" i="0" smtClean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900" b="0" i="0">
              <a:solidFill>
                <a:schemeClr val="bg2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7E96BB0-C680-42B0-B5C8-F4BBDB01C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6152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4FC9B2-219D-4083-B981-AD7619000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206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" name="think-cell Folie" r:id="rId14" imgW="384" imgH="385" progId="TCLayout.ActiveDocument.1">
                  <p:embed/>
                </p:oleObj>
              </mc:Choice>
              <mc:Fallback>
                <p:oleObj name="think-cell Folie" r:id="rId14" imgW="384" imgH="38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4FC9B2-219D-4083-B981-AD7619000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6A566-C6CB-48CA-BE8C-87C9F7EAE93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D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itchFamily="2" charset="0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B229A93-C311-5A47-9A83-26D66A056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68808"/>
            <a:ext cx="8497888" cy="39014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F14891-4CC2-A445-9FA1-B64B0066D875}"/>
              </a:ext>
            </a:extLst>
          </p:cNvPr>
          <p:cNvSpPr/>
          <p:nvPr userDrawn="1"/>
        </p:nvSpPr>
        <p:spPr>
          <a:xfrm>
            <a:off x="-1" y="5418407"/>
            <a:ext cx="7464287" cy="3065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30FFE23F-9D02-4247-8599-995409DAA64C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918" y="5458403"/>
            <a:ext cx="707745" cy="184628"/>
          </a:xfrm>
          <a:prstGeom prst="rect">
            <a:avLst/>
          </a:prstGeom>
        </p:spPr>
      </p:pic>
      <p:sp>
        <p:nvSpPr>
          <p:cNvPr id="12" name="Textfeld 13">
            <a:extLst>
              <a:ext uri="{FF2B5EF4-FFF2-40B4-BE49-F238E27FC236}">
                <a16:creationId xmlns:a16="http://schemas.microsoft.com/office/drawing/2014/main" id="{0A21267F-71E2-4C4C-A723-EC4CAB2F2513}"/>
              </a:ext>
            </a:extLst>
          </p:cNvPr>
          <p:cNvSpPr txBox="1"/>
          <p:nvPr userDrawn="1"/>
        </p:nvSpPr>
        <p:spPr>
          <a:xfrm>
            <a:off x="246792" y="5417453"/>
            <a:ext cx="1839191" cy="30653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600" b="0" i="0" kern="1200">
                <a:solidFill>
                  <a:schemeClr val="tx1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© 2020 KNIME AG. All rights reserved.</a:t>
            </a:r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55FBA21E-67A1-8B48-98CA-1F3E1E57506B}"/>
              </a:ext>
            </a:extLst>
          </p:cNvPr>
          <p:cNvSpPr/>
          <p:nvPr userDrawn="1"/>
        </p:nvSpPr>
        <p:spPr>
          <a:xfrm>
            <a:off x="7274553" y="5417453"/>
            <a:ext cx="384048" cy="307486"/>
          </a:xfrm>
          <a:prstGeom prst="triangl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602390-4A88-D446-9790-34A53AA22A13}"/>
              </a:ext>
            </a:extLst>
          </p:cNvPr>
          <p:cNvSpPr txBox="1"/>
          <p:nvPr userDrawn="1"/>
        </p:nvSpPr>
        <p:spPr>
          <a:xfrm>
            <a:off x="7043061" y="5460223"/>
            <a:ext cx="3840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C781D50-5550-5243-AC32-96DDDDD438F6}" type="slidenum">
              <a:rPr lang="en-US" sz="900" b="0" i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900" b="0" i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9" name="Gerade Verbindung 2">
            <a:extLst>
              <a:ext uri="{FF2B5EF4-FFF2-40B4-BE49-F238E27FC236}">
                <a16:creationId xmlns:a16="http://schemas.microsoft.com/office/drawing/2014/main" id="{3AB6E041-6DA5-D546-9DF5-2E66C58C6E05}"/>
              </a:ext>
            </a:extLst>
          </p:cNvPr>
          <p:cNvCxnSpPr/>
          <p:nvPr userDrawn="1"/>
        </p:nvCxnSpPr>
        <p:spPr>
          <a:xfrm>
            <a:off x="358775" y="850774"/>
            <a:ext cx="8497888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669006-DC94-4B9A-A102-47EF0E67D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952499"/>
            <a:ext cx="8497888" cy="413702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98810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683" r:id="rId3"/>
    <p:sldLayoutId id="2147483721" r:id="rId4"/>
    <p:sldLayoutId id="2147483749" r:id="rId5"/>
    <p:sldLayoutId id="2147483751" r:id="rId6"/>
    <p:sldLayoutId id="2147483757" r:id="rId7"/>
    <p:sldLayoutId id="2147483758" r:id="rId8"/>
    <p:sldLayoutId id="2147483759" r:id="rId9"/>
  </p:sldLayoutIdLst>
  <p:hf hdr="0" ftr="0" dt="0"/>
  <p:txStyles>
    <p:titleStyle>
      <a:lvl1pPr marL="0" marR="0" indent="0" algn="l" defTabSz="6858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de-DE" sz="2400" b="1" i="0" kern="1200" smtClean="0">
          <a:solidFill>
            <a:schemeClr val="tx1"/>
          </a:solidFill>
          <a:effectLst/>
          <a:latin typeface="+mj-lt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750"/>
        </a:spcBef>
        <a:buFont typeface="Wingdings" panose="05000000000000000000" pitchFamily="2" charset="2"/>
        <a:buNone/>
        <a:tabLst/>
        <a:defRPr sz="1600" b="0" i="0" kern="1200">
          <a:solidFill>
            <a:schemeClr val="tx1"/>
          </a:solidFill>
          <a:latin typeface="+mj-lt"/>
          <a:ea typeface="Roboto Light" panose="02000000000000000000" pitchFamily="2" charset="0"/>
          <a:cs typeface="Roboto Light" panose="02000000000000000000" pitchFamily="2" charset="0"/>
        </a:defRPr>
      </a:lvl1pPr>
      <a:lvl2pPr marL="0" indent="0" algn="l" defTabSz="685800" rtl="0" eaLnBrk="1" latinLnBrk="0" hangingPunct="1">
        <a:lnSpc>
          <a:spcPct val="100000"/>
        </a:lnSpc>
        <a:spcBef>
          <a:spcPts val="375"/>
        </a:spcBef>
        <a:buClr>
          <a:srgbClr val="C0C4C6"/>
        </a:buClr>
        <a:buFont typeface="Wingdings" panose="05000000000000000000" pitchFamily="2" charset="2"/>
        <a:buNone/>
        <a:tabLst/>
        <a:defRPr sz="1600" b="1" i="0" kern="1200">
          <a:solidFill>
            <a:schemeClr val="tx1"/>
          </a:solidFill>
          <a:latin typeface="+mj-lt"/>
          <a:ea typeface="Roboto Light" panose="02000000000000000000" pitchFamily="2" charset="0"/>
          <a:cs typeface="+mn-cs"/>
        </a:defRPr>
      </a:lvl2pPr>
      <a:lvl3pPr marL="266700" indent="-260350" algn="l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Wingdings" panose="05000000000000000000" pitchFamily="2" charset="2"/>
        <a:buChar char="§"/>
        <a:tabLst/>
        <a:defRPr sz="1600" b="0" i="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3pPr>
      <a:lvl4pPr marL="541338" indent="-274638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>
          <p15:clr>
            <a:srgbClr val="F26B43"/>
          </p15:clr>
        </p15:guide>
        <p15:guide id="2" orient="horz" pos="235">
          <p15:clr>
            <a:srgbClr val="F26B43"/>
          </p15:clr>
        </p15:guide>
        <p15:guide id="5" pos="5579">
          <p15:clr>
            <a:srgbClr val="F26B43"/>
          </p15:clr>
        </p15:guide>
        <p15:guide id="6" orient="horz" pos="3410" userDrawn="1">
          <p15:clr>
            <a:srgbClr val="F26B43"/>
          </p15:clr>
        </p15:guide>
        <p15:guide id="7" orient="horz" pos="3206" userDrawn="1">
          <p15:clr>
            <a:srgbClr val="F26B43"/>
          </p15:clr>
        </p15:guide>
        <p15:guide id="8" orient="horz" pos="5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kni.me/w/CB0u_eLmzlghiZI2" TargetMode="Externa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04F4491-FD2A-6046-AB2E-0FDF42037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1772470"/>
            <a:ext cx="6325055" cy="1107996"/>
          </a:xfrm>
        </p:spPr>
        <p:txBody>
          <a:bodyPr/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he KNIME Demo Library:</a:t>
            </a:r>
            <a:b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Credit</a:t>
            </a:r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 Scoring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BC95A5-9871-FF40-B819-9C568AFBEE06}"/>
              </a:ext>
            </a:extLst>
          </p:cNvPr>
          <p:cNvSpPr txBox="1">
            <a:spLocks/>
          </p:cNvSpPr>
          <p:nvPr/>
        </p:nvSpPr>
        <p:spPr>
          <a:xfrm>
            <a:off x="358774" y="3500943"/>
            <a:ext cx="4739742" cy="365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panose="05000000000000000000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rgbClr val="C0C4C6"/>
              </a:buClr>
              <a:buFont typeface="Wingdings" panose="05000000000000000000" pitchFamily="2" charset="2"/>
              <a:buNone/>
              <a:tabLst/>
              <a:defRPr sz="1600" b="1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266700" indent="-2603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541338" indent="-274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400" b="1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76FCFC-01D1-854D-B4A3-5B6C3037F4D1}"/>
              </a:ext>
            </a:extLst>
          </p:cNvPr>
          <p:cNvSpPr txBox="1">
            <a:spLocks/>
          </p:cNvSpPr>
          <p:nvPr/>
        </p:nvSpPr>
        <p:spPr>
          <a:xfrm>
            <a:off x="358774" y="3209556"/>
            <a:ext cx="3763521" cy="135495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panose="05000000000000000000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rgbClr val="C0C4C6"/>
              </a:buClr>
              <a:buFont typeface="Wingdings" panose="05000000000000000000" pitchFamily="2" charset="2"/>
              <a:buNone/>
              <a:tabLst/>
              <a:defRPr sz="1600" b="1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266700" indent="-2603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541338" indent="-274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lexander Fillbrunn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C3D66A6-430B-E541-94F4-8EF8A573D2CA}"/>
              </a:ext>
            </a:extLst>
          </p:cNvPr>
          <p:cNvSpPr txBox="1">
            <a:spLocks/>
          </p:cNvSpPr>
          <p:nvPr/>
        </p:nvSpPr>
        <p:spPr>
          <a:xfrm>
            <a:off x="358774" y="4761544"/>
            <a:ext cx="4739742" cy="24447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panose="05000000000000000000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rgbClr val="C0C4C6"/>
              </a:buClr>
              <a:buFont typeface="Wingdings" panose="05000000000000000000" pitchFamily="2" charset="2"/>
              <a:buNone/>
              <a:tabLst/>
              <a:defRPr sz="1600" b="1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266700" indent="-2603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541338" indent="-274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October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3876637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40A7D-BF58-F442-BBDF-1676B8525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ummar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25F065-C0D3-F145-8752-3ADBE6A28B29}"/>
              </a:ext>
            </a:extLst>
          </p:cNvPr>
          <p:cNvSpPr txBox="1"/>
          <p:nvPr/>
        </p:nvSpPr>
        <p:spPr>
          <a:xfrm>
            <a:off x="358776" y="1050815"/>
            <a:ext cx="8497888" cy="8309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DE" sz="1800" b="0" dirty="0">
                <a:solidFill>
                  <a:schemeClr val="tx1"/>
                </a:solidFill>
                <a:latin typeface="+mn-lt"/>
              </a:rPr>
              <a:t>This set of workflows is meant to show an end-to-end machine learning use case with data loading and cleaning, model building, deployment, and final usage as REST API or WebPortal application.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35B4AE3C-DAA7-B94C-BA4B-E0B15CC58B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027" y="2427109"/>
            <a:ext cx="7833946" cy="184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16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9C92C-AB37-E64E-BC2D-456CD175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EE6197-234A-6149-BBE5-F2705378E5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75" y="1452563"/>
            <a:ext cx="3811781" cy="3636962"/>
          </a:xfrm>
        </p:spPr>
        <p:txBody>
          <a:bodyPr>
            <a:normAutofit/>
          </a:bodyPr>
          <a:lstStyle/>
          <a:p>
            <a:pPr lvl="2">
              <a:lnSpc>
                <a:spcPct val="150000"/>
              </a:lnSpc>
            </a:pPr>
            <a:r>
              <a:rPr lang="en-GB" dirty="0"/>
              <a:t>Focus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ML Pipeline (End to End)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Data Joining &amp; Cleaning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Reporting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Integrated Deployment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REST API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Other shown Features</a:t>
            </a:r>
          </a:p>
          <a:p>
            <a:pPr lvl="3">
              <a:lnSpc>
                <a:spcPct val="150000"/>
              </a:lnSpc>
            </a:pPr>
            <a:r>
              <a:rPr lang="en-DE" dirty="0"/>
              <a:t>CSV/Excel Import</a:t>
            </a:r>
          </a:p>
          <a:p>
            <a:pPr lvl="3">
              <a:lnSpc>
                <a:spcPct val="150000"/>
              </a:lnSpc>
            </a:pPr>
            <a:r>
              <a:rPr lang="en-DE" dirty="0"/>
              <a:t>Random Fores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F5BF1C4-1E02-A142-BC8E-9BE8F43D72B0}"/>
              </a:ext>
            </a:extLst>
          </p:cNvPr>
          <p:cNvSpPr txBox="1">
            <a:spLocks/>
          </p:cNvSpPr>
          <p:nvPr/>
        </p:nvSpPr>
        <p:spPr>
          <a:xfrm>
            <a:off x="4572000" y="1452563"/>
            <a:ext cx="3811781" cy="36369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panose="05000000000000000000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rgbClr val="C0C4C6"/>
              </a:buClr>
              <a:buFont typeface="Wingdings" panose="05000000000000000000" pitchFamily="2" charset="2"/>
              <a:buNone/>
              <a:tabLst/>
              <a:defRPr sz="1600" b="1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266700" indent="-2603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541338" indent="-274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38163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50000"/>
              </a:lnSpc>
            </a:pPr>
            <a:r>
              <a:rPr lang="en-GB" dirty="0"/>
              <a:t>Data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Credit Data from Hub:</a:t>
            </a:r>
            <a:br>
              <a:rPr lang="en-GB" dirty="0"/>
            </a:br>
            <a:r>
              <a:rPr lang="en-GB" dirty="0">
                <a:hlinkClick r:id="rId2"/>
              </a:rPr>
              <a:t>https://kni.me/w/CB0u_eLmzlghiZI2</a:t>
            </a:r>
            <a:endParaRPr lang="en-GB" dirty="0"/>
          </a:p>
          <a:p>
            <a:pPr lvl="2">
              <a:lnSpc>
                <a:spcPct val="150000"/>
              </a:lnSpc>
            </a:pPr>
            <a:r>
              <a:rPr lang="en-GB" dirty="0"/>
              <a:t>Size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3 workflows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Time</a:t>
            </a:r>
          </a:p>
          <a:p>
            <a:pPr lvl="3">
              <a:lnSpc>
                <a:spcPct val="150000"/>
              </a:lnSpc>
            </a:pPr>
            <a:r>
              <a:rPr lang="en-DE" dirty="0"/>
              <a:t>~30-45 minutes</a:t>
            </a:r>
          </a:p>
          <a:p>
            <a:pPr lvl="3">
              <a:lnSpc>
                <a:spcPct val="150000"/>
              </a:lnSpc>
            </a:pPr>
            <a:r>
              <a:rPr lang="en-DE" dirty="0"/>
              <a:t>Can be shortened by skipping either the smaller “Training” or the bigger “Train Model and Deploy” workflow</a:t>
            </a:r>
          </a:p>
        </p:txBody>
      </p:sp>
    </p:spTree>
    <p:extLst>
      <p:ext uri="{BB962C8B-B14F-4D97-AF65-F5344CB8AC3E}">
        <p14:creationId xmlns:p14="http://schemas.microsoft.com/office/powerpoint/2010/main" val="16491901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EFD20-E806-F444-9AFF-681740779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redit Scor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9F8498-7FED-E048-9D27-D7AE0B7459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5123" y="2727370"/>
            <a:ext cx="5460521" cy="1327992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25F652B-9A5C-744D-9A7C-AB0A80C7806D}"/>
              </a:ext>
            </a:extLst>
          </p:cNvPr>
          <p:cNvSpPr txBox="1">
            <a:spLocks/>
          </p:cNvSpPr>
          <p:nvPr/>
        </p:nvSpPr>
        <p:spPr>
          <a:xfrm>
            <a:off x="360000" y="1008000"/>
            <a:ext cx="8427599" cy="407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D8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ermines the creditworthiness of a person or business</a:t>
            </a: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D8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 be automated based on historic decisions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 Machine Learning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D8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come: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v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645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y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 Binary Classification Problem</a:t>
            </a: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D8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Tasks: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Data Acquisition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Data Cleaning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Data Transformation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Model Training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Model Scoring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Model Deployment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Model Monitoring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Model Updat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2266890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8F5FE-F701-2044-8728-6349368BB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Main Artifact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2D215AD-089A-BE48-B978-ABA4836C2A68}"/>
              </a:ext>
            </a:extLst>
          </p:cNvPr>
          <p:cNvSpPr txBox="1">
            <a:spLocks/>
          </p:cNvSpPr>
          <p:nvPr/>
        </p:nvSpPr>
        <p:spPr>
          <a:xfrm>
            <a:off x="360000" y="1008000"/>
            <a:ext cx="5017543" cy="407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D8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DE" sz="1800" b="1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Training Report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DE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stamp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DE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Type (esp. when doing AutoML)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DE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uracy, Cohen’s Kappa, Precision, Recall, F-Score, …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DE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usion Matrix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DE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ature importance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DE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D8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DE" sz="1800" b="1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</a:t>
            </a:r>
          </a:p>
          <a:p>
            <a:pPr marL="468000" marR="0" lvl="1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at depends on where it should be deployed</a:t>
            </a:r>
          </a:p>
          <a:p>
            <a:pPr marL="828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ctive Model Markup Language</a:t>
            </a:r>
          </a:p>
          <a:p>
            <a:pPr marL="828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NX</a:t>
            </a:r>
          </a:p>
          <a:p>
            <a:pPr marL="828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2O MOJO</a:t>
            </a:r>
          </a:p>
          <a:p>
            <a:pPr marL="828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C4C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rkflow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947A622A-9FA9-B248-A8DA-C40AC39ABC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1993" y="1008000"/>
            <a:ext cx="3242007" cy="3757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29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6BD45-A3BB-B24E-AA82-4E0B4DB42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Model Deployment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D2AF3EB-1DB4-2C43-846C-3C9E1C157D0B}"/>
              </a:ext>
            </a:extLst>
          </p:cNvPr>
          <p:cNvSpPr/>
          <p:nvPr/>
        </p:nvSpPr>
        <p:spPr>
          <a:xfrm>
            <a:off x="681757" y="3331574"/>
            <a:ext cx="407598" cy="407598"/>
          </a:xfrm>
          <a:prstGeom prst="ellipse">
            <a:avLst/>
          </a:prstGeom>
          <a:noFill/>
          <a:ln w="3175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1845788-4500-8148-820A-A8C44053021C}"/>
              </a:ext>
            </a:extLst>
          </p:cNvPr>
          <p:cNvSpPr/>
          <p:nvPr/>
        </p:nvSpPr>
        <p:spPr>
          <a:xfrm>
            <a:off x="2015976" y="3331574"/>
            <a:ext cx="407598" cy="407598"/>
          </a:xfrm>
          <a:prstGeom prst="ellipse">
            <a:avLst/>
          </a:prstGeom>
          <a:noFill/>
          <a:ln w="3175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9D93747-34A2-2A4B-AF6E-9EBBB6699131}"/>
              </a:ext>
            </a:extLst>
          </p:cNvPr>
          <p:cNvCxnSpPr>
            <a:cxnSpLocks/>
            <a:stCxn id="10" idx="3"/>
            <a:endCxn id="5" idx="0"/>
          </p:cNvCxnSpPr>
          <p:nvPr/>
        </p:nvCxnSpPr>
        <p:spPr>
          <a:xfrm>
            <a:off x="862114" y="3331573"/>
            <a:ext cx="1357661" cy="1"/>
          </a:xfrm>
          <a:prstGeom prst="line">
            <a:avLst/>
          </a:prstGeom>
          <a:noFill/>
          <a:ln w="31750" cap="flat" cmpd="sng" algn="ctr">
            <a:solidFill>
              <a:srgbClr val="3E3A39"/>
            </a:solidFill>
            <a:prstDash val="solid"/>
            <a:miter lim="800000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6004A2D-89D5-664B-B4AF-430533A220E5}"/>
              </a:ext>
            </a:extLst>
          </p:cNvPr>
          <p:cNvCxnSpPr>
            <a:cxnSpLocks/>
            <a:stCxn id="4" idx="4"/>
            <a:endCxn id="5" idx="4"/>
          </p:cNvCxnSpPr>
          <p:nvPr/>
        </p:nvCxnSpPr>
        <p:spPr>
          <a:xfrm>
            <a:off x="885556" y="3739172"/>
            <a:ext cx="1334219" cy="0"/>
          </a:xfrm>
          <a:prstGeom prst="line">
            <a:avLst/>
          </a:prstGeom>
          <a:noFill/>
          <a:ln w="31750" cap="flat" cmpd="sng" algn="ctr">
            <a:solidFill>
              <a:srgbClr val="3E3A39"/>
            </a:solidFill>
            <a:prstDash val="solid"/>
            <a:miter lim="800000"/>
          </a:ln>
          <a:effectLst/>
        </p:spPr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7D9C6E0A-24C4-B446-9640-29DA225A1801}"/>
              </a:ext>
            </a:extLst>
          </p:cNvPr>
          <p:cNvSpPr/>
          <p:nvPr/>
        </p:nvSpPr>
        <p:spPr>
          <a:xfrm>
            <a:off x="2143575" y="3459173"/>
            <a:ext cx="152400" cy="152400"/>
          </a:xfrm>
          <a:prstGeom prst="ellipse">
            <a:avLst/>
          </a:prstGeom>
          <a:noFill/>
          <a:ln w="3175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86950AB-2908-C349-BD7E-22146AFBA1DD}"/>
              </a:ext>
            </a:extLst>
          </p:cNvPr>
          <p:cNvSpPr/>
          <p:nvPr/>
        </p:nvSpPr>
        <p:spPr>
          <a:xfrm>
            <a:off x="809356" y="3459173"/>
            <a:ext cx="152400" cy="152400"/>
          </a:xfrm>
          <a:prstGeom prst="ellipse">
            <a:avLst/>
          </a:prstGeom>
          <a:noFill/>
          <a:ln w="3175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Can 9">
            <a:extLst>
              <a:ext uri="{FF2B5EF4-FFF2-40B4-BE49-F238E27FC236}">
                <a16:creationId xmlns:a16="http://schemas.microsoft.com/office/drawing/2014/main" id="{50E07AC8-7B53-3545-92B9-D495A5BA8D56}"/>
              </a:ext>
            </a:extLst>
          </p:cNvPr>
          <p:cNvSpPr/>
          <p:nvPr/>
        </p:nvSpPr>
        <p:spPr>
          <a:xfrm>
            <a:off x="739555" y="3005566"/>
            <a:ext cx="245118" cy="326007"/>
          </a:xfrm>
          <a:prstGeom prst="can">
            <a:avLst/>
          </a:prstGeom>
          <a:solidFill>
            <a:srgbClr val="6E6E6E">
              <a:lumMod val="40000"/>
              <a:lumOff val="60000"/>
            </a:srgbClr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Can 10">
            <a:extLst>
              <a:ext uri="{FF2B5EF4-FFF2-40B4-BE49-F238E27FC236}">
                <a16:creationId xmlns:a16="http://schemas.microsoft.com/office/drawing/2014/main" id="{E376B997-0ED2-9A4B-93B6-3676F92B42AB}"/>
              </a:ext>
            </a:extLst>
          </p:cNvPr>
          <p:cNvSpPr/>
          <p:nvPr/>
        </p:nvSpPr>
        <p:spPr>
          <a:xfrm>
            <a:off x="1056118" y="3005565"/>
            <a:ext cx="245118" cy="326007"/>
          </a:xfrm>
          <a:prstGeom prst="can">
            <a:avLst/>
          </a:prstGeom>
          <a:solidFill>
            <a:srgbClr val="6E6E6E">
              <a:lumMod val="40000"/>
              <a:lumOff val="60000"/>
            </a:srgbClr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Can 11">
            <a:extLst>
              <a:ext uri="{FF2B5EF4-FFF2-40B4-BE49-F238E27FC236}">
                <a16:creationId xmlns:a16="http://schemas.microsoft.com/office/drawing/2014/main" id="{2BD480A7-C8C3-CC4B-B532-87A784050B06}"/>
              </a:ext>
            </a:extLst>
          </p:cNvPr>
          <p:cNvSpPr/>
          <p:nvPr/>
        </p:nvSpPr>
        <p:spPr>
          <a:xfrm>
            <a:off x="1374013" y="3005566"/>
            <a:ext cx="245118" cy="326007"/>
          </a:xfrm>
          <a:prstGeom prst="can">
            <a:avLst/>
          </a:prstGeom>
          <a:solidFill>
            <a:srgbClr val="6E6E6E">
              <a:lumMod val="40000"/>
              <a:lumOff val="60000"/>
            </a:srgbClr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Can 12">
            <a:extLst>
              <a:ext uri="{FF2B5EF4-FFF2-40B4-BE49-F238E27FC236}">
                <a16:creationId xmlns:a16="http://schemas.microsoft.com/office/drawing/2014/main" id="{6B650E4E-B3E4-CC48-8AF4-A4E3B28B5601}"/>
              </a:ext>
            </a:extLst>
          </p:cNvPr>
          <p:cNvSpPr/>
          <p:nvPr/>
        </p:nvSpPr>
        <p:spPr>
          <a:xfrm>
            <a:off x="1690576" y="3005565"/>
            <a:ext cx="245118" cy="326007"/>
          </a:xfrm>
          <a:prstGeom prst="can">
            <a:avLst/>
          </a:prstGeom>
          <a:solidFill>
            <a:srgbClr val="6E6E6E">
              <a:lumMod val="40000"/>
              <a:lumOff val="60000"/>
            </a:srgbClr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74BB13E-F720-5844-8E22-1346F088BDF8}"/>
              </a:ext>
            </a:extLst>
          </p:cNvPr>
          <p:cNvSpPr/>
          <p:nvPr/>
        </p:nvSpPr>
        <p:spPr>
          <a:xfrm rot="5400000">
            <a:off x="1493411" y="2873304"/>
            <a:ext cx="647332" cy="3269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95000"/>
                  <a:alpha val="0"/>
                </a:srgbClr>
              </a:gs>
              <a:gs pos="91000">
                <a:srgbClr val="FFD800">
                  <a:alpha val="56672"/>
                </a:srgbClr>
              </a:gs>
              <a:gs pos="100000">
                <a:srgbClr val="FFD800"/>
              </a:gs>
            </a:gsLst>
            <a:lin ang="10800000" scaled="1"/>
            <a:tileRect/>
          </a:gradFill>
          <a:ln w="3175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Can 14">
            <a:extLst>
              <a:ext uri="{FF2B5EF4-FFF2-40B4-BE49-F238E27FC236}">
                <a16:creationId xmlns:a16="http://schemas.microsoft.com/office/drawing/2014/main" id="{B4D8593D-A9C3-134A-8256-0C3A021CB0F9}"/>
              </a:ext>
            </a:extLst>
          </p:cNvPr>
          <p:cNvSpPr/>
          <p:nvPr/>
        </p:nvSpPr>
        <p:spPr>
          <a:xfrm>
            <a:off x="2015976" y="3005566"/>
            <a:ext cx="245118" cy="326007"/>
          </a:xfrm>
          <a:prstGeom prst="can">
            <a:avLst/>
          </a:prstGeom>
          <a:solidFill>
            <a:srgbClr val="FF645C"/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FF645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Can 15">
            <a:extLst>
              <a:ext uri="{FF2B5EF4-FFF2-40B4-BE49-F238E27FC236}">
                <a16:creationId xmlns:a16="http://schemas.microsoft.com/office/drawing/2014/main" id="{E782D6AD-4675-7147-BB36-1B6999F0B75E}"/>
              </a:ext>
            </a:extLst>
          </p:cNvPr>
          <p:cNvSpPr/>
          <p:nvPr/>
        </p:nvSpPr>
        <p:spPr>
          <a:xfrm>
            <a:off x="2324854" y="2842561"/>
            <a:ext cx="245118" cy="326007"/>
          </a:xfrm>
          <a:prstGeom prst="can">
            <a:avLst/>
          </a:prstGeom>
          <a:solidFill>
            <a:srgbClr val="92D050"/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Can 16">
            <a:extLst>
              <a:ext uri="{FF2B5EF4-FFF2-40B4-BE49-F238E27FC236}">
                <a16:creationId xmlns:a16="http://schemas.microsoft.com/office/drawing/2014/main" id="{15AB89A7-5C07-0D43-B149-03AE6A22DCDE}"/>
              </a:ext>
            </a:extLst>
          </p:cNvPr>
          <p:cNvSpPr/>
          <p:nvPr/>
        </p:nvSpPr>
        <p:spPr>
          <a:xfrm>
            <a:off x="2645925" y="2571550"/>
            <a:ext cx="245118" cy="326007"/>
          </a:xfrm>
          <a:prstGeom prst="can">
            <a:avLst/>
          </a:prstGeom>
          <a:solidFill>
            <a:srgbClr val="92D050"/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Can 17">
            <a:extLst>
              <a:ext uri="{FF2B5EF4-FFF2-40B4-BE49-F238E27FC236}">
                <a16:creationId xmlns:a16="http://schemas.microsoft.com/office/drawing/2014/main" id="{B256837B-8C3F-0B40-ACC6-0DC5F44A5160}"/>
              </a:ext>
            </a:extLst>
          </p:cNvPr>
          <p:cNvSpPr/>
          <p:nvPr/>
        </p:nvSpPr>
        <p:spPr>
          <a:xfrm>
            <a:off x="2645925" y="3133166"/>
            <a:ext cx="245118" cy="326007"/>
          </a:xfrm>
          <a:prstGeom prst="can">
            <a:avLst/>
          </a:prstGeom>
          <a:solidFill>
            <a:srgbClr val="FF645C"/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FF645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F42CC2-54A0-9043-BBED-5D9F7A9A2127}"/>
              </a:ext>
            </a:extLst>
          </p:cNvPr>
          <p:cNvSpPr txBox="1"/>
          <p:nvPr/>
        </p:nvSpPr>
        <p:spPr>
          <a:xfrm>
            <a:off x="815587" y="3886130"/>
            <a:ext cx="2008963" cy="542653"/>
          </a:xfrm>
          <a:prstGeom prst="rect">
            <a:avLst/>
          </a:prstGeom>
          <a:noFill/>
          <a:ln w="15875">
            <a:noFill/>
          </a:ln>
        </p:spPr>
        <p:txBody>
          <a:bodyPr wrap="none" lIns="108000" tIns="108000" rIns="108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Batch Execu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D5B0436-E672-3140-BD03-714B52DCB22B}"/>
              </a:ext>
            </a:extLst>
          </p:cNvPr>
          <p:cNvSpPr/>
          <p:nvPr/>
        </p:nvSpPr>
        <p:spPr>
          <a:xfrm>
            <a:off x="1650711" y="2310198"/>
            <a:ext cx="326901" cy="399922"/>
          </a:xfrm>
          <a:prstGeom prst="rect">
            <a:avLst/>
          </a:prstGeom>
          <a:noFill/>
          <a:ln w="317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922A917-57AA-ED40-BACF-5B6D51A6BF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7511" y="2390500"/>
            <a:ext cx="245117" cy="24511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6AF43A9D-2DA9-2A4B-971F-02B107AE5AA1}"/>
              </a:ext>
            </a:extLst>
          </p:cNvPr>
          <p:cNvSpPr txBox="1"/>
          <p:nvPr/>
        </p:nvSpPr>
        <p:spPr>
          <a:xfrm>
            <a:off x="3646199" y="3881192"/>
            <a:ext cx="2008963" cy="542653"/>
          </a:xfrm>
          <a:prstGeom prst="rect">
            <a:avLst/>
          </a:prstGeom>
          <a:noFill/>
          <a:ln w="15875">
            <a:noFill/>
          </a:ln>
        </p:spPr>
        <p:txBody>
          <a:bodyPr wrap="none" lIns="108000" tIns="108000" rIns="108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REST AP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9438EE-F2A6-6D44-82E5-D768816CF6EA}"/>
              </a:ext>
            </a:extLst>
          </p:cNvPr>
          <p:cNvSpPr txBox="1"/>
          <p:nvPr/>
        </p:nvSpPr>
        <p:spPr>
          <a:xfrm>
            <a:off x="6505760" y="3881192"/>
            <a:ext cx="2008963" cy="542653"/>
          </a:xfrm>
          <a:prstGeom prst="rect">
            <a:avLst/>
          </a:prstGeom>
          <a:noFill/>
          <a:ln w="15875">
            <a:noFill/>
          </a:ln>
        </p:spPr>
        <p:txBody>
          <a:bodyPr wrap="none" lIns="108000" tIns="108000" rIns="108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</a:rPr>
              <a:t>Data App</a:t>
            </a:r>
          </a:p>
        </p:txBody>
      </p:sp>
      <p:sp>
        <p:nvSpPr>
          <p:cNvPr id="24" name="Can 23">
            <a:extLst>
              <a:ext uri="{FF2B5EF4-FFF2-40B4-BE49-F238E27FC236}">
                <a16:creationId xmlns:a16="http://schemas.microsoft.com/office/drawing/2014/main" id="{953A3EA6-F37A-464D-BAC1-392D1044415B}"/>
              </a:ext>
            </a:extLst>
          </p:cNvPr>
          <p:cNvSpPr/>
          <p:nvPr/>
        </p:nvSpPr>
        <p:spPr>
          <a:xfrm>
            <a:off x="4089187" y="3413165"/>
            <a:ext cx="245118" cy="326007"/>
          </a:xfrm>
          <a:prstGeom prst="can">
            <a:avLst/>
          </a:prstGeom>
          <a:solidFill>
            <a:srgbClr val="6E6E6E">
              <a:lumMod val="40000"/>
              <a:lumOff val="60000"/>
            </a:srgbClr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4C2E1062-E775-5E47-9095-CBA88246DF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2740" y="2243822"/>
            <a:ext cx="481617" cy="481617"/>
          </a:xfrm>
          <a:prstGeom prst="rect">
            <a:avLst/>
          </a:prstGeom>
        </p:spPr>
      </p:pic>
      <p:sp>
        <p:nvSpPr>
          <p:cNvPr id="26" name="Cloud 25">
            <a:extLst>
              <a:ext uri="{FF2B5EF4-FFF2-40B4-BE49-F238E27FC236}">
                <a16:creationId xmlns:a16="http://schemas.microsoft.com/office/drawing/2014/main" id="{01D81BBA-E30A-824F-8CA8-81F57179400E}"/>
              </a:ext>
            </a:extLst>
          </p:cNvPr>
          <p:cNvSpPr/>
          <p:nvPr/>
        </p:nvSpPr>
        <p:spPr>
          <a:xfrm>
            <a:off x="3994301" y="2135510"/>
            <a:ext cx="1218496" cy="734724"/>
          </a:xfrm>
          <a:prstGeom prst="cloud">
            <a:avLst/>
          </a:prstGeom>
          <a:noFill/>
          <a:ln w="317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Can 26">
            <a:extLst>
              <a:ext uri="{FF2B5EF4-FFF2-40B4-BE49-F238E27FC236}">
                <a16:creationId xmlns:a16="http://schemas.microsoft.com/office/drawing/2014/main" id="{ECE6E897-B256-9D44-A879-1FB727A5CADE}"/>
              </a:ext>
            </a:extLst>
          </p:cNvPr>
          <p:cNvSpPr/>
          <p:nvPr/>
        </p:nvSpPr>
        <p:spPr>
          <a:xfrm>
            <a:off x="4898671" y="3413164"/>
            <a:ext cx="245118" cy="326007"/>
          </a:xfrm>
          <a:prstGeom prst="can">
            <a:avLst/>
          </a:prstGeom>
          <a:solidFill>
            <a:srgbClr val="92D050"/>
          </a:solidFill>
          <a:ln w="12700" cap="flat" cmpd="sng" algn="ctr">
            <a:solidFill>
              <a:srgbClr val="3E3A39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Down Arrow 27">
            <a:extLst>
              <a:ext uri="{FF2B5EF4-FFF2-40B4-BE49-F238E27FC236}">
                <a16:creationId xmlns:a16="http://schemas.microsoft.com/office/drawing/2014/main" id="{2D306A7D-28DB-194B-87ED-EA02609A1606}"/>
              </a:ext>
            </a:extLst>
          </p:cNvPr>
          <p:cNvSpPr/>
          <p:nvPr/>
        </p:nvSpPr>
        <p:spPr>
          <a:xfrm>
            <a:off x="4922508" y="2932960"/>
            <a:ext cx="197443" cy="398612"/>
          </a:xfrm>
          <a:prstGeom prst="downArrow">
            <a:avLst/>
          </a:prstGeom>
          <a:noFill/>
          <a:ln w="317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Down Arrow 28">
            <a:extLst>
              <a:ext uri="{FF2B5EF4-FFF2-40B4-BE49-F238E27FC236}">
                <a16:creationId xmlns:a16="http://schemas.microsoft.com/office/drawing/2014/main" id="{7A094251-07CB-1A4C-B69C-505861F7574A}"/>
              </a:ext>
            </a:extLst>
          </p:cNvPr>
          <p:cNvSpPr/>
          <p:nvPr/>
        </p:nvSpPr>
        <p:spPr>
          <a:xfrm rot="10800000">
            <a:off x="4113024" y="2932960"/>
            <a:ext cx="197443" cy="398612"/>
          </a:xfrm>
          <a:prstGeom prst="downArrow">
            <a:avLst/>
          </a:prstGeom>
          <a:noFill/>
          <a:ln w="317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B530BF9-EBA7-7046-8368-2956A0329C34}"/>
              </a:ext>
            </a:extLst>
          </p:cNvPr>
          <p:cNvSpPr/>
          <p:nvPr/>
        </p:nvSpPr>
        <p:spPr>
          <a:xfrm>
            <a:off x="6564973" y="2390500"/>
            <a:ext cx="1846053" cy="1348671"/>
          </a:xfrm>
          <a:prstGeom prst="rect">
            <a:avLst/>
          </a:prstGeom>
          <a:noFill/>
          <a:ln w="317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53DBFFA-2F7B-CD4A-9655-21E25BB5D63A}"/>
              </a:ext>
            </a:extLst>
          </p:cNvPr>
          <p:cNvSpPr/>
          <p:nvPr/>
        </p:nvSpPr>
        <p:spPr>
          <a:xfrm>
            <a:off x="8082835" y="2439263"/>
            <a:ext cx="72000" cy="72000"/>
          </a:xfrm>
          <a:prstGeom prst="ellipse">
            <a:avLst/>
          </a:prstGeom>
          <a:solidFill>
            <a:srgbClr val="FF645C">
              <a:lumMod val="75000"/>
            </a:srgb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826F06D-608A-1948-889B-106FC1EC7C13}"/>
              </a:ext>
            </a:extLst>
          </p:cNvPr>
          <p:cNvSpPr/>
          <p:nvPr/>
        </p:nvSpPr>
        <p:spPr>
          <a:xfrm>
            <a:off x="8184488" y="2439263"/>
            <a:ext cx="72000" cy="72000"/>
          </a:xfrm>
          <a:prstGeom prst="ellipse">
            <a:avLst/>
          </a:prstGeom>
          <a:solidFill>
            <a:srgbClr val="FFC000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11E72A2-4F60-8D41-B253-D32CE0D99BF4}"/>
              </a:ext>
            </a:extLst>
          </p:cNvPr>
          <p:cNvSpPr/>
          <p:nvPr/>
        </p:nvSpPr>
        <p:spPr>
          <a:xfrm>
            <a:off x="8286141" y="2439263"/>
            <a:ext cx="72000" cy="72000"/>
          </a:xfrm>
          <a:prstGeom prst="ellipse">
            <a:avLst/>
          </a:prstGeom>
          <a:solidFill>
            <a:srgbClr val="92D050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5266026-5186-2846-97EE-5BFC1DEFAE05}"/>
              </a:ext>
            </a:extLst>
          </p:cNvPr>
          <p:cNvSpPr/>
          <p:nvPr/>
        </p:nvSpPr>
        <p:spPr>
          <a:xfrm>
            <a:off x="6685476" y="2657619"/>
            <a:ext cx="674192" cy="98936"/>
          </a:xfrm>
          <a:prstGeom prst="rect">
            <a:avLst/>
          </a:prstGeom>
          <a:noFill/>
          <a:ln w="190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DC9021-F96D-4145-93E4-911774B0C686}"/>
              </a:ext>
            </a:extLst>
          </p:cNvPr>
          <p:cNvSpPr/>
          <p:nvPr/>
        </p:nvSpPr>
        <p:spPr>
          <a:xfrm>
            <a:off x="7467303" y="2657619"/>
            <a:ext cx="674192" cy="98936"/>
          </a:xfrm>
          <a:prstGeom prst="rect">
            <a:avLst/>
          </a:prstGeom>
          <a:noFill/>
          <a:ln w="190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AA1611-4B49-7D48-BAB6-298A9C4A0AFF}"/>
              </a:ext>
            </a:extLst>
          </p:cNvPr>
          <p:cNvSpPr/>
          <p:nvPr/>
        </p:nvSpPr>
        <p:spPr>
          <a:xfrm>
            <a:off x="6682501" y="2865025"/>
            <a:ext cx="1044000" cy="98936"/>
          </a:xfrm>
          <a:prstGeom prst="rect">
            <a:avLst/>
          </a:prstGeom>
          <a:noFill/>
          <a:ln w="190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F1844A3-FEFF-8C41-803C-1081DE1E7183}"/>
              </a:ext>
            </a:extLst>
          </p:cNvPr>
          <p:cNvSpPr/>
          <p:nvPr/>
        </p:nvSpPr>
        <p:spPr>
          <a:xfrm>
            <a:off x="6682501" y="3072281"/>
            <a:ext cx="1458993" cy="98936"/>
          </a:xfrm>
          <a:prstGeom prst="rect">
            <a:avLst/>
          </a:prstGeom>
          <a:noFill/>
          <a:ln w="19050" cap="flat" cmpd="sng" algn="ctr">
            <a:solidFill>
              <a:srgbClr val="6E6E6E"/>
            </a:solidFill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Cross 37">
            <a:extLst>
              <a:ext uri="{FF2B5EF4-FFF2-40B4-BE49-F238E27FC236}">
                <a16:creationId xmlns:a16="http://schemas.microsoft.com/office/drawing/2014/main" id="{05322AB4-8E2A-0944-8BD2-836C2A8BE063}"/>
              </a:ext>
            </a:extLst>
          </p:cNvPr>
          <p:cNvSpPr/>
          <p:nvPr/>
        </p:nvSpPr>
        <p:spPr>
          <a:xfrm rot="2700000">
            <a:off x="7265897" y="3240398"/>
            <a:ext cx="437548" cy="437548"/>
          </a:xfrm>
          <a:prstGeom prst="plus">
            <a:avLst>
              <a:gd name="adj" fmla="val 38269"/>
            </a:avLst>
          </a:prstGeom>
          <a:solidFill>
            <a:srgbClr val="FF645C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86304858-02FB-FC42-A9F6-41C17103EE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5904" y="2414319"/>
            <a:ext cx="208932" cy="208932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96A8E56A-0AF0-594C-9FDC-21F9455C3DB4}"/>
              </a:ext>
            </a:extLst>
          </p:cNvPr>
          <p:cNvSpPr/>
          <p:nvPr/>
        </p:nvSpPr>
        <p:spPr>
          <a:xfrm>
            <a:off x="359924" y="1100995"/>
            <a:ext cx="789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lvl="0" indent="-288000" defTabSz="685800">
              <a:spcBef>
                <a:spcPts val="600"/>
              </a:spcBef>
              <a:buClr>
                <a:srgbClr val="FFD800"/>
              </a:buClr>
              <a:buFont typeface="Wingdings" pitchFamily="2" charset="2"/>
              <a:buChar char="§"/>
            </a:pPr>
            <a:r>
              <a:rPr lang="en-DE" dirty="0">
                <a:solidFill>
                  <a:srgbClr val="3E3A39"/>
                </a:solidFill>
              </a:rPr>
              <a:t>Workflows built with KNIME can be deployed in different fashions</a:t>
            </a:r>
          </a:p>
        </p:txBody>
      </p:sp>
    </p:spTree>
    <p:extLst>
      <p:ext uri="{BB962C8B-B14F-4D97-AF65-F5344CB8AC3E}">
        <p14:creationId xmlns:p14="http://schemas.microsoft.com/office/powerpoint/2010/main" val="2995063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9C92C-AB37-E64E-BC2D-456CD175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orkflo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EE6197-234A-6149-BBE5-F2705378E5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76" y="1452563"/>
            <a:ext cx="4793088" cy="3636962"/>
          </a:xfrm>
        </p:spPr>
        <p:txBody>
          <a:bodyPr>
            <a:normAutofit/>
          </a:bodyPr>
          <a:lstStyle/>
          <a:p>
            <a:pPr lvl="2">
              <a:lnSpc>
                <a:spcPct val="150000"/>
              </a:lnSpc>
            </a:pPr>
            <a:r>
              <a:rPr lang="en-GB" dirty="0"/>
              <a:t>Training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Loads data, cleans it, and trains a random forest model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Simple version of the “Train model and deploy” workflow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Train Model and Deploy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Loads data, cleans it, and trains a random forest model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Also calculates model accuracy using cross validation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Compares to existing model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Deploys model if it is better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Scoring </a:t>
            </a:r>
            <a:r>
              <a:rPr lang="en-GB" dirty="0" err="1"/>
              <a:t>DataApp</a:t>
            </a:r>
            <a:endParaRPr lang="en-GB" dirty="0"/>
          </a:p>
          <a:p>
            <a:pPr lvl="3">
              <a:lnSpc>
                <a:spcPct val="150000"/>
              </a:lnSpc>
            </a:pPr>
            <a:r>
              <a:rPr lang="en-GB" dirty="0" err="1"/>
              <a:t>DataApp</a:t>
            </a:r>
            <a:r>
              <a:rPr lang="en-GB" dirty="0"/>
              <a:t> for batch scoring of new customers</a:t>
            </a: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BABBCB1B-2333-2D43-ABF5-F75ECF7C47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3198" y="1452563"/>
            <a:ext cx="4073465" cy="322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1930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9C92C-AB37-E64E-BC2D-456CD175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pecial: Website making use of REST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EE6197-234A-6149-BBE5-F2705378E5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76" y="1452563"/>
            <a:ext cx="4793088" cy="3636962"/>
          </a:xfrm>
        </p:spPr>
        <p:txBody>
          <a:bodyPr>
            <a:normAutofit/>
          </a:bodyPr>
          <a:lstStyle/>
          <a:p>
            <a:pPr lvl="2">
              <a:lnSpc>
                <a:spcPct val="150000"/>
              </a:lnSpc>
            </a:pPr>
            <a:r>
              <a:rPr lang="en-GB" dirty="0" err="1"/>
              <a:t>cool_credit.zip</a:t>
            </a:r>
            <a:r>
              <a:rPr lang="en-GB" dirty="0"/>
              <a:t> contains a website that calls the model via REST API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Credit worthiness shown live as points on the right</a:t>
            </a:r>
          </a:p>
          <a:p>
            <a:pPr lvl="2">
              <a:lnSpc>
                <a:spcPct val="150000"/>
              </a:lnSpc>
            </a:pPr>
            <a:r>
              <a:rPr lang="en-GB" dirty="0"/>
              <a:t>TODO for usage: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Turn off CORS in browser, e.g. by starting Chrome with</a:t>
            </a:r>
            <a:br>
              <a:rPr lang="en-GB" dirty="0"/>
            </a:br>
            <a:r>
              <a:rPr lang="en-GB" dirty="0"/>
              <a:t>--disable-web-security argument</a:t>
            </a:r>
          </a:p>
          <a:p>
            <a:pPr lvl="3">
              <a:lnSpc>
                <a:spcPct val="150000"/>
              </a:lnSpc>
            </a:pPr>
            <a:r>
              <a:rPr lang="en-GB" dirty="0"/>
              <a:t>Adjust path to </a:t>
            </a:r>
            <a:r>
              <a:rPr lang="en-GB" dirty="0" err="1"/>
              <a:t>CreditScoring</a:t>
            </a:r>
            <a:r>
              <a:rPr lang="en-GB" dirty="0"/>
              <a:t> workflow on server in </a:t>
            </a:r>
            <a:r>
              <a:rPr lang="en-GB" dirty="0" err="1"/>
              <a:t>index.js</a:t>
            </a:r>
            <a:endParaRPr lang="en-GB" dirty="0"/>
          </a:p>
        </p:txBody>
      </p:sp>
      <p:pic>
        <p:nvPicPr>
          <p:cNvPr id="6" name="Picture 5" descr="Graphical user interface, application, email&#10;&#10;Description automatically generated">
            <a:extLst>
              <a:ext uri="{FF2B5EF4-FFF2-40B4-BE49-F238E27FC236}">
                <a16:creationId xmlns:a16="http://schemas.microsoft.com/office/drawing/2014/main" id="{79DAD7A5-A8DA-9140-AF30-92D3613E3C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92" y="1452563"/>
            <a:ext cx="3607271" cy="276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3446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0937A9-7E19-3440-8049-EAF67E6830D4}"/>
              </a:ext>
            </a:extLst>
          </p:cNvPr>
          <p:cNvSpPr txBox="1">
            <a:spLocks/>
          </p:cNvSpPr>
          <p:nvPr/>
        </p:nvSpPr>
        <p:spPr>
          <a:xfrm>
            <a:off x="762000" y="4191000"/>
            <a:ext cx="7620001" cy="878417"/>
          </a:xfrm>
          <a:prstGeom prst="rect">
            <a:avLst/>
          </a:prstGeom>
        </p:spPr>
        <p:txBody>
          <a:bodyPr vert="horz" lIns="76200" tIns="38100" rIns="76200" bIns="38100" rtlCol="0" anchor="b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167" dirty="0"/>
              <a:t>The KNIME® trademark and logo and OPEN FOR INNOVATION® trademark are used by </a:t>
            </a:r>
            <a:br>
              <a:rPr lang="en-US" altLang="ja-JP" sz="1167" dirty="0"/>
            </a:br>
            <a:r>
              <a:rPr lang="en-US" altLang="ja-JP" sz="1167" dirty="0"/>
              <a:t>KNIME.com AG under license from KNIME GmbH, and are registered in the United States. </a:t>
            </a:r>
            <a:br>
              <a:rPr lang="en-US" altLang="ja-JP" sz="1167" dirty="0"/>
            </a:br>
            <a:r>
              <a:rPr lang="en-US" altLang="ja-JP" sz="1167" dirty="0"/>
              <a:t>KNIME® is also registered in Germany.</a:t>
            </a:r>
            <a:endParaRPr lang="en-US" sz="2667" dirty="0"/>
          </a:p>
        </p:txBody>
      </p:sp>
    </p:spTree>
    <p:extLst>
      <p:ext uri="{BB962C8B-B14F-4D97-AF65-F5344CB8AC3E}">
        <p14:creationId xmlns:p14="http://schemas.microsoft.com/office/powerpoint/2010/main" val="2818655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CN0BdgKnH6v9unheM6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mATAp_c63gjHgIjN8w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Iargkp63Vk5Y_XtFg_A"/>
</p:tagLst>
</file>

<file path=ppt/theme/theme1.xml><?xml version="1.0" encoding="utf-8"?>
<a:theme xmlns:a="http://schemas.openxmlformats.org/drawingml/2006/main" name="KNIME Master">
  <a:themeElements>
    <a:clrScheme name="KNIME">
      <a:dk1>
        <a:srgbClr val="3D3A39"/>
      </a:dk1>
      <a:lt1>
        <a:srgbClr val="FFFFFF"/>
      </a:lt1>
      <a:dk2>
        <a:srgbClr val="FFD700"/>
      </a:dk2>
      <a:lt2>
        <a:srgbClr val="898A89"/>
      </a:lt2>
      <a:accent1>
        <a:srgbClr val="C0C4C5"/>
      </a:accent1>
      <a:accent2>
        <a:srgbClr val="EFF0F1"/>
      </a:accent2>
      <a:accent3>
        <a:srgbClr val="F7C719"/>
      </a:accent3>
      <a:accent4>
        <a:srgbClr val="FFE140"/>
      </a:accent4>
      <a:accent5>
        <a:srgbClr val="FFEB74"/>
      </a:accent5>
      <a:accent6>
        <a:srgbClr val="FFF4BE"/>
      </a:accent6>
      <a:hlink>
        <a:srgbClr val="3D3A39"/>
      </a:hlink>
      <a:folHlink>
        <a:srgbClr val="3D3A3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accent3"/>
          </a:solidFill>
        </a:ln>
      </a:spPr>
      <a:bodyPr rtlCol="0" anchor="ctr"/>
      <a:lstStyle>
        <a:defPPr algn="ctr" eaLnBrk="1" hangingPunct="1"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tx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algn="l">
          <a:lnSpc>
            <a:spcPct val="100000"/>
          </a:lnSpc>
          <a:defRPr sz="1800" b="0" dirty="0" smtClean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A7CCEBEA-E859-0F4C-84F6-88FE3A2C35F5}" vid="{68C3BF79-BBFE-3541-ABE5-86AE9476AEC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_dlc_DocId xmlns="a1d3deca-49d0-46fa-a3f9-6e0c4e618558">XFNKNFZNA3JN-2102554853-435959</_dlc_DocId>
    <_dlc_DocIdUrl xmlns="a1d3deca-49d0-46fa-a3f9-6e0c4e618558">
      <Url>https://knime.sharepoint.com/_layouts/15/DocIdRedir.aspx?ID=XFNKNFZNA3JN-2102554853-435959</Url>
      <Description>XFNKNFZNA3JN-2102554853-435959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3E31740070594596117FEC384DD67F" ma:contentTypeVersion="15" ma:contentTypeDescription="Create a new document." ma:contentTypeScope="" ma:versionID="47b93a1e283d9fc000f0425935169344">
  <xsd:schema xmlns:xsd="http://www.w3.org/2001/XMLSchema" xmlns:xs="http://www.w3.org/2001/XMLSchema" xmlns:p="http://schemas.microsoft.com/office/2006/metadata/properties" xmlns:ns1="http://schemas.microsoft.com/sharepoint/v3" xmlns:ns2="a1d3deca-49d0-46fa-a3f9-6e0c4e618558" xmlns:ns3="32a7ba11-dde9-4cf2-a6ac-8f31dc36ce67" targetNamespace="http://schemas.microsoft.com/office/2006/metadata/properties" ma:root="true" ma:fieldsID="36240bc1a368b89b5f732cc6b3afe097" ns1:_="" ns2:_="" ns3:_="">
    <xsd:import namespace="http://schemas.microsoft.com/sharepoint/v3"/>
    <xsd:import namespace="a1d3deca-49d0-46fa-a3f9-6e0c4e618558"/>
    <xsd:import namespace="32a7ba11-dde9-4cf2-a6ac-8f31dc36ce6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1:_ip_UnifiedCompliancePolicyProperties" minOccurs="0"/>
                <xsd:element ref="ns1:_ip_UnifiedCompliancePolicyUIAction" minOccurs="0"/>
                <xsd:element ref="ns2:_dlc_DocId" minOccurs="0"/>
                <xsd:element ref="ns2:_dlc_DocIdUrl" minOccurs="0"/>
                <xsd:element ref="ns2:_dlc_DocIdPersistId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d3deca-49d0-46fa-a3f9-6e0c4e61855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4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a7ba11-dde9-4cf2-a6ac-8f31dc36ce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6" nillable="true" ma:displayName="Tags" ma:description="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316BDE4-4851-4210-B61A-7DA9F29B133D}">
  <ds:schemaRefs>
    <ds:schemaRef ds:uri="http://purl.org/dc/terms/"/>
    <ds:schemaRef ds:uri="http://purl.org/dc/dcmitype/"/>
    <ds:schemaRef ds:uri="http://schemas.microsoft.com/office/2006/metadata/properties"/>
    <ds:schemaRef ds:uri="32a7ba11-dde9-4cf2-a6ac-8f31dc36ce67"/>
    <ds:schemaRef ds:uri="http://schemas.microsoft.com/office/infopath/2007/PartnerControls"/>
    <ds:schemaRef ds:uri="http://www.w3.org/XML/1998/namespace"/>
    <ds:schemaRef ds:uri="a1d3deca-49d0-46fa-a3f9-6e0c4e618558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3439E620-BCF6-45C9-9135-BAA0931EC5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6D30D5-741C-4A73-A5FA-A3640B491E0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EA7FEB7B-575D-4F4A-871D-5A2EF0110D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1d3deca-49d0-46fa-a3f9-6e0c4e618558"/>
    <ds:schemaRef ds:uri="32a7ba11-dde9-4cf2-a6ac-8f31dc36ce6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nime Final Template (1)</Template>
  <TotalTime>612</TotalTime>
  <Words>411</Words>
  <Application>Microsoft Macintosh PowerPoint</Application>
  <PresentationFormat>On-screen Show (16:10)</PresentationFormat>
  <Paragraphs>73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Calibri</vt:lpstr>
      <vt:lpstr>Arial</vt:lpstr>
      <vt:lpstr>Roboto</vt:lpstr>
      <vt:lpstr>Wingdings</vt:lpstr>
      <vt:lpstr>Roboto Light</vt:lpstr>
      <vt:lpstr>KNIME Master</vt:lpstr>
      <vt:lpstr>think-cell Folie</vt:lpstr>
      <vt:lpstr>The KNIME Demo Library: Credit Scoring</vt:lpstr>
      <vt:lpstr>Summary</vt:lpstr>
      <vt:lpstr>Overview</vt:lpstr>
      <vt:lpstr>Credit Scoring</vt:lpstr>
      <vt:lpstr>Main Artifacts</vt:lpstr>
      <vt:lpstr>Model Deployment</vt:lpstr>
      <vt:lpstr>Workflows</vt:lpstr>
      <vt:lpstr>Special: Website making use of REST API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page 1</dc:title>
  <dc:creator>cihan@folienhelfer.de</dc:creator>
  <cp:lastModifiedBy>Alexander Fillbrunn</cp:lastModifiedBy>
  <cp:revision>249</cp:revision>
  <cp:lastPrinted>2019-02-14T13:33:55Z</cp:lastPrinted>
  <dcterms:created xsi:type="dcterms:W3CDTF">2019-11-20T15:38:13Z</dcterms:created>
  <dcterms:modified xsi:type="dcterms:W3CDTF">2021-10-12T09:2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3E31740070594596117FEC384DD67F</vt:lpwstr>
  </property>
  <property fmtid="{D5CDD505-2E9C-101B-9397-08002B2CF9AE}" pid="3" name="_dlc_DocIdItemGuid">
    <vt:lpwstr>1ae5cb30-1fef-4ca0-b2a8-8e01f7fd92fa</vt:lpwstr>
  </property>
</Properties>
</file>